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5"/>
  </p:notesMasterIdLst>
  <p:sldIdLst>
    <p:sldId id="3284" r:id="rId5"/>
    <p:sldId id="2569" r:id="rId6"/>
    <p:sldId id="3275" r:id="rId7"/>
    <p:sldId id="2542" r:id="rId8"/>
    <p:sldId id="3277" r:id="rId9"/>
    <p:sldId id="3283" r:id="rId10"/>
    <p:sldId id="3285" r:id="rId11"/>
    <p:sldId id="3288" r:id="rId12"/>
    <p:sldId id="3289" r:id="rId13"/>
    <p:sldId id="2558" r:id="rId14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751"/>
    <p:restoredTop sz="95788"/>
  </p:normalViewPr>
  <p:slideViewPr>
    <p:cSldViewPr snapToGrid="0">
      <p:cViewPr varScale="1">
        <p:scale>
          <a:sx n="86" d="100"/>
          <a:sy n="86" d="100"/>
        </p:scale>
        <p:origin x="208" y="1168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12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0392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004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578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38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5. Nov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846659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Grundsätze für die Erstellung einer digitalen UI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Michaela Frank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Chef de Partie, Restaurant Wart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r>
              <a:rPr lang="de-DE" sz="1400" dirty="0"/>
              <a:t> und Vorstellungsrund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orstellung Ausgangslage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ckground des </a:t>
            </a:r>
            <a:r>
              <a:rPr lang="de-DE" sz="1400" dirty="0" err="1"/>
              <a:t>Gesprächpartners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ktuelle Bedarfskalkulation im Betrieb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erbesserungspotenziale aktuelle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isualisierung der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eitere Aspekte eines Bedarfsplanungstools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 dirty="0">
                <a:solidFill>
                  <a:prstClr val="black"/>
                </a:solidFill>
                <a:latin typeface="Calibri"/>
              </a:rPr>
              <a:t>15-20 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BACKGROUND DES GESPRÄCHPARTNER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lange arbeiten Sie schon in der Gastronomie / in Ihrem Betrieb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8 Jahre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Gastro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, aktuellen Betrieb seit Juli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sind ihre Aufgaben (neben dem eigentlichen Kochen)? 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Chef de Partie, Vorspeisen und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Süssspeisen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, Brot, Hygienelisten,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ehört der Einkauf / Bedarfsplanung zu Ihrem Tätigkeitsbereich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stellungen für den eigenen Bedarf, Eingehende Bestellungen, Trockenlager alle 2 Wochen, Gemüsebestellungen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Verständnis über die Historie, die Erfahrung und die Position der Person in der Organisation erlangen 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9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KTUELLE BEDARFSKALKULATION IM BETRIEB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funktioniert die aktuelle Bedarfsplanung der Gerichte / Lebensmittel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usgangspunkt Reservationen, plötzliche Walk-ins sind immer möglich, Samstag Freitag immer voll, Donnerstag ist ein ruhiger Tag, Do wird für das Wochenende vor produziert, Sonntag wird runtergefahren, entsorgt und eingefror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Mensa: täglich 1000-1200 Personen Durchlauf, 100g Gemüse pro Kunde, Rest pro Gast hochrechnen, jede Woche gibt es ein neues Menü, jedes Gericht hat eine Einschätzung wie viele Personen das Gericht wollen.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ibt es aktuell eine Übersicht auf der ersichtlich ist, was und in welcher Menge eingekauft werden muss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Planung basiert auf Gefühl, Lagerverwaltung ist analog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elche weiteren Informationen sind wichtig bei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Herkunft des Gastes, Preiskalkulation,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Saisionalitäten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elche weiteren Elemente sind für eine Bedarfsplanung unbedingt zu beachten?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aktuelle Bedarfsplanung und den Einkauf der verschiedenen Gerichte erlangen  </a:t>
            </a:r>
          </a:p>
        </p:txBody>
      </p:sp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ERBESSERUNGSPOTENZIALE AKTUELLE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ist aktuell verbesserungswürdig an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uffetplanung: 1/3 mehr einkalkulieren als benötigt wird, da der Gast ein reichhaltiges Buffet sehen soll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Überproduktionen sind eher als negativ zu bewert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wusstsein für Kosten der Produkte und nachhaltiger Umgang mit den Produkten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könnte in Ihrer Bedarfsplanung einfacher gestaltet sein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ibt es Wünsche, Anregungen, Verbesserungspotenzial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Den optimalen Prozess einer bedürfnisgerechten Bedarfsplanung eruieren</a:t>
            </a:r>
          </a:p>
        </p:txBody>
      </p:sp>
    </p:spTree>
    <p:extLst>
      <p:ext uri="{BB962C8B-B14F-4D97-AF65-F5344CB8AC3E}">
        <p14:creationId xmlns:p14="http://schemas.microsoft.com/office/powerpoint/2010/main" val="1363268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ISUALISIERUNG DER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894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st es für Sie entscheidender, eine Erklärung über die Funktionsweise des Algorithmus zu erhalten, oder eine die die aktuell ausgesprochene Empfehlung erklärt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Outcome soll erklärt werden, Algorithmus muss erklärt und begründet sein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Informationen müssen auf einer Visualisierung zur Bedarfsplanung integriert sei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Sehr einfach gestaltet, „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Deppensicher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“, Interaktivität,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Recommendersystem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visuell gestaltet, Feedbackschlaufen durch den Benutzer, Input möglich, Break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even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Point pro Gericht berechnen, 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 err="1">
                <a:solidFill>
                  <a:schemeClr val="tx1"/>
                </a:solidFill>
                <a:latin typeface="Calibri"/>
              </a:rPr>
              <a:t>Losgrössen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Portionsgrössen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und Mindestbestellmeng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Benutzer hat Kontrolle, kann Input zurück geben</a:t>
            </a:r>
          </a:p>
          <a:p>
            <a:pPr defTabSz="402325"/>
            <a:r>
              <a:rPr lang="de-DE" sz="1200" dirty="0">
                <a:solidFill>
                  <a:schemeClr val="tx1"/>
                </a:solidFill>
                <a:latin typeface="Calibri"/>
              </a:rPr>
              <a:t>	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muss die Visualisierung gestaltet sein, damit sie am meisten Wert stiftet? (Beispiele zeigen)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(visuellen) Elemente dürfen auf einer Benutzeroberfläche zur Bedarfsplanung nicht fehlen?</a:t>
            </a: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Gibt es bestimmte Vorlieben über die Art der Visualisierung oder andere Bedürfnisse die Sie noch gerne ergänzen möchten?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1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1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1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1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52322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Nutzung eines nutzerfreundlichen und einfach verständlichen Visualisierung erlangen</a:t>
            </a:r>
          </a:p>
        </p:txBody>
      </p:sp>
    </p:spTree>
    <p:extLst>
      <p:ext uri="{BB962C8B-B14F-4D97-AF65-F5344CB8AC3E}">
        <p14:creationId xmlns:p14="http://schemas.microsoft.com/office/powerpoint/2010/main" val="866898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2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WEITERE ASPEKTE EINES BEDARFSPLANUNGSTOOLS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7444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wichtig ist Ihnen, dass Sie die Vorschläge des Tools nachvollziehen könn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Sehr wichtig, Vorschläge basieren auf dem Algorithmus und der Entscheidungsprozess muss erklärbar und verständlich sei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Elemente müsste ein solches Tool aufweisen, damit Sie den Empfehlung dessen vertrauen könn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Erklärungen sind wichtig, weniger ist mehr, Viel Text überfordert, Stichwortartig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äre eine interaktive „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What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If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…“ Funktion hilfreich, die unterschiedliche Szenarios simulieren kan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Ja, kommt auf den Durchlauf der Mensa / Restaurant an, Laufkundschaft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wiefern müssten verschiedene Zeithorizonte betrachtet werden, da sich Lebensmittel unterschiedlich lange halten oder aufgrund von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Saisonalitäten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Nachfrageschwankungen etc.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 err="1">
                <a:solidFill>
                  <a:schemeClr val="tx1"/>
                </a:solidFill>
                <a:latin typeface="Calibri"/>
              </a:rPr>
              <a:t>Reminder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die Bestellung läuft bald ab oder wird schlecht, visuelle Unterstützung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uss man einzelne Gerichte oder andere Faktoren ausklammern können bspw. (Ausklammern von bestimmten Lebensmitteln aufgrund Allergien oder Geschmacksvorlieben, bei saisonalen Gerichten etc.)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Nein, es gibt genügend Ausweichoptionen in einer Mensa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äre es hilfreich, wenn Empfehlungen im Sinne eines „</a:t>
            </a:r>
            <a:r>
              <a:rPr lang="de-DE" sz="1200" dirty="0" err="1">
                <a:solidFill>
                  <a:schemeClr val="tx1"/>
                </a:solidFill>
                <a:latin typeface="Calibri"/>
                <a:cs typeface="Calibri"/>
              </a:rPr>
              <a:t>Recommender</a:t>
            </a: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 Systems“, welche Vorschläge zu anderen Gerichten gibt, integriert sind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weiteren Funktionen müsste ein Tool zur Bedarfsplanung von Gerichten aufweis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deensammlung, Vorschläge, Menüdokumentation, Fotointegration, </a:t>
            </a:r>
            <a:r>
              <a:rPr lang="de-DE" sz="1200" dirty="0" err="1">
                <a:solidFill>
                  <a:schemeClr val="tx1"/>
                </a:solidFill>
                <a:latin typeface="Calibri"/>
                <a:cs typeface="Calibri"/>
              </a:rPr>
              <a:t>Recommendersystem</a:t>
            </a: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Probleme und Limitationen der Datennutzung verstehen.</a:t>
            </a:r>
          </a:p>
        </p:txBody>
      </p:sp>
    </p:spTree>
    <p:extLst>
      <p:ext uri="{BB962C8B-B14F-4D97-AF65-F5344CB8AC3E}">
        <p14:creationId xmlns:p14="http://schemas.microsoft.com/office/powerpoint/2010/main" val="2346587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IESSENDE FRAGEN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bei Ihnen im Unternehmen irgendwelche Tools oder Applikationen die mit Maschine Learning oder KI arbeit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Bereitschaft zum Tool zu wechseln: 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inarbeitungszeit: Learning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by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doing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, Einführungskurse, psychologische Anreize, 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nzeige im App: Geld gespart, Personalkosten gespart, Produkte gespart, Co2 gespart -&gt; Belohnungssystem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infache und klare Visualisierungen, Farbliche Abstimmungen (hellgrün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Sonstige Fragen zum Thema klären.</a:t>
            </a:r>
          </a:p>
        </p:txBody>
      </p:sp>
    </p:spTree>
    <p:extLst>
      <p:ext uri="{BB962C8B-B14F-4D97-AF65-F5344CB8AC3E}">
        <p14:creationId xmlns:p14="http://schemas.microsoft.com/office/powerpoint/2010/main" val="3156788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913</Words>
  <Application>Microsoft Macintosh PowerPoint</Application>
  <PresentationFormat>Bildschirmpräsentation (16:9)</PresentationFormat>
  <Paragraphs>117</Paragraphs>
  <Slides>10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29</cp:revision>
  <cp:lastPrinted>2020-03-29T12:41:23Z</cp:lastPrinted>
  <dcterms:created xsi:type="dcterms:W3CDTF">2019-10-08T08:06:46Z</dcterms:created>
  <dcterms:modified xsi:type="dcterms:W3CDTF">2021-01-12T10:4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